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332" r:id="rId2"/>
    <p:sldId id="2333" r:id="rId3"/>
    <p:sldId id="2334" r:id="rId4"/>
  </p:sldIdLst>
  <p:sldSz cx="12192000" cy="6858000"/>
  <p:notesSz cx="6858000" cy="9144000"/>
  <p:custDataLst>
    <p:tags r:id="rId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68" d="100"/>
          <a:sy n="68" d="100"/>
        </p:scale>
        <p:origin x="58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Středočeský kraj</c:v>
                </c:pt>
                <c:pt idx="3">
                  <c:v>Pardubický kraj</c:v>
                </c:pt>
                <c:pt idx="4">
                  <c:v>Plzeňský kraj</c:v>
                </c:pt>
                <c:pt idx="5">
                  <c:v>Jihomoravský kraj</c:v>
                </c:pt>
                <c:pt idx="6">
                  <c:v>Královéhradecký kraj</c:v>
                </c:pt>
                <c:pt idx="7">
                  <c:v>Moravskoslezský kraj</c:v>
                </c:pt>
                <c:pt idx="8">
                  <c:v>Zlínský kraj</c:v>
                </c:pt>
                <c:pt idx="9">
                  <c:v>ČR</c:v>
                </c:pt>
                <c:pt idx="10">
                  <c:v>Ústecký kraj</c:v>
                </c:pt>
                <c:pt idx="11">
                  <c:v>Olomoucký kraj</c:v>
                </c:pt>
                <c:pt idx="12">
                  <c:v>Liber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54545454545399996</c:v>
                </c:pt>
                <c:pt idx="1">
                  <c:v>0.48979591836699998</c:v>
                </c:pt>
                <c:pt idx="2">
                  <c:v>0.44017094017000002</c:v>
                </c:pt>
                <c:pt idx="3">
                  <c:v>0.40769230769199999</c:v>
                </c:pt>
                <c:pt idx="4">
                  <c:v>0.40625</c:v>
                </c:pt>
                <c:pt idx="5">
                  <c:v>0.39746835443</c:v>
                </c:pt>
                <c:pt idx="6">
                  <c:v>0.33043478260800002</c:v>
                </c:pt>
                <c:pt idx="7">
                  <c:v>0.32335329341300001</c:v>
                </c:pt>
                <c:pt idx="8">
                  <c:v>0.322981366459</c:v>
                </c:pt>
                <c:pt idx="9">
                  <c:v>0.31913092550700001</c:v>
                </c:pt>
                <c:pt idx="10">
                  <c:v>0.30620155038699998</c:v>
                </c:pt>
                <c:pt idx="11">
                  <c:v>0.29949238578600001</c:v>
                </c:pt>
                <c:pt idx="12">
                  <c:v>0.28000000000000003</c:v>
                </c:pt>
                <c:pt idx="13">
                  <c:v>0.20481927710799999</c:v>
                </c:pt>
                <c:pt idx="14">
                  <c:v>0.16305732483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Ústecký kraj</c:v>
                </c:pt>
                <c:pt idx="4">
                  <c:v>Zlínský kraj</c:v>
                </c:pt>
                <c:pt idx="5">
                  <c:v>Pardubický kraj</c:v>
                </c:pt>
                <c:pt idx="6">
                  <c:v>Olomoucký kraj</c:v>
                </c:pt>
                <c:pt idx="7">
                  <c:v>Plzeňský kraj</c:v>
                </c:pt>
                <c:pt idx="8">
                  <c:v>Středočeský kraj</c:v>
                </c:pt>
                <c:pt idx="9">
                  <c:v>ČR</c:v>
                </c:pt>
                <c:pt idx="10">
                  <c:v>Královéhradecký kraj</c:v>
                </c:pt>
                <c:pt idx="11">
                  <c:v>Moravskoslezský kraj</c:v>
                </c:pt>
                <c:pt idx="12">
                  <c:v>Karlovarský kraj</c:v>
                </c:pt>
                <c:pt idx="13">
                  <c:v>Liberec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8709677419299998</c:v>
                </c:pt>
                <c:pt idx="1">
                  <c:v>0.359375</c:v>
                </c:pt>
                <c:pt idx="2">
                  <c:v>0.32843137254900001</c:v>
                </c:pt>
                <c:pt idx="3">
                  <c:v>0.31932773109200002</c:v>
                </c:pt>
                <c:pt idx="4">
                  <c:v>0.318181818181</c:v>
                </c:pt>
                <c:pt idx="5">
                  <c:v>0.30645161290299999</c:v>
                </c:pt>
                <c:pt idx="6">
                  <c:v>0.28947368421000003</c:v>
                </c:pt>
                <c:pt idx="7">
                  <c:v>0.28787878787799998</c:v>
                </c:pt>
                <c:pt idx="8">
                  <c:v>0.24347826086900001</c:v>
                </c:pt>
                <c:pt idx="9">
                  <c:v>0.23285643808500001</c:v>
                </c:pt>
                <c:pt idx="10">
                  <c:v>0.23200000000000001</c:v>
                </c:pt>
                <c:pt idx="11">
                  <c:v>0.220064724919</c:v>
                </c:pt>
                <c:pt idx="12">
                  <c:v>0.20930232558100001</c:v>
                </c:pt>
                <c:pt idx="13">
                  <c:v>0.15189873417700001</c:v>
                </c:pt>
                <c:pt idx="14">
                  <c:v>9.51374207179999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629-4550-921A-24A9592EF6B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Liberecký kraj</c:v>
                </c:pt>
                <c:pt idx="2">
                  <c:v>Pardubický kraj</c:v>
                </c:pt>
                <c:pt idx="3">
                  <c:v>Jihočeský kraj</c:v>
                </c:pt>
                <c:pt idx="4">
                  <c:v>Olomoucký kraj</c:v>
                </c:pt>
                <c:pt idx="5">
                  <c:v>Ústecký kraj</c:v>
                </c:pt>
                <c:pt idx="6">
                  <c:v>Plzeňský kraj</c:v>
                </c:pt>
                <c:pt idx="7">
                  <c:v>Jihomoravský kraj</c:v>
                </c:pt>
                <c:pt idx="8">
                  <c:v>Zlínský kraj</c:v>
                </c:pt>
                <c:pt idx="9">
                  <c:v>ČR</c:v>
                </c:pt>
                <c:pt idx="10">
                  <c:v>Moravskoslezský kraj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0102389078400003</c:v>
                </c:pt>
                <c:pt idx="1">
                  <c:v>0.34735576923</c:v>
                </c:pt>
                <c:pt idx="2">
                  <c:v>0.34333333333299998</c:v>
                </c:pt>
                <c:pt idx="3">
                  <c:v>0.33720930232500002</c:v>
                </c:pt>
                <c:pt idx="4">
                  <c:v>0.32432432432399999</c:v>
                </c:pt>
                <c:pt idx="5">
                  <c:v>0.31093007467700001</c:v>
                </c:pt>
                <c:pt idx="6">
                  <c:v>0.30434782608599997</c:v>
                </c:pt>
                <c:pt idx="7">
                  <c:v>0.284046692607</c:v>
                </c:pt>
                <c:pt idx="8">
                  <c:v>0.269743589743</c:v>
                </c:pt>
                <c:pt idx="9">
                  <c:v>0.26197441383199999</c:v>
                </c:pt>
                <c:pt idx="10">
                  <c:v>0.20963172804499999</c:v>
                </c:pt>
                <c:pt idx="11">
                  <c:v>0.17778993435400001</c:v>
                </c:pt>
                <c:pt idx="12">
                  <c:v>0.17140181080200001</c:v>
                </c:pt>
                <c:pt idx="13">
                  <c:v>0.16985645932999999</c:v>
                </c:pt>
                <c:pt idx="14">
                  <c:v>0.129316678911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4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341049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4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40754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4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60998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8023493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4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92034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4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7054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4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2667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4.11.2021</a:t>
            </a:fld>
            <a:endParaRPr lang="cs-CZ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4160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4.11.2021</a:t>
            </a:fld>
            <a:endParaRPr lang="cs-CZ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503921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4.11.2021</a:t>
            </a:fld>
            <a:endParaRPr lang="cs-CZ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34682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4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96367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4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50562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DA3A0F-9B2E-4AAE-BF10-3AD84EB845DD}" type="datetimeFigureOut">
              <a:rPr lang="cs-CZ" smtClean="0"/>
              <a:t>14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4966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0961348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8178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8130815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5774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9307649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/>
              <a:t>lůžek s kyslíkem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927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2</TotalTime>
  <Words>47</Words>
  <Application>Microsoft Office PowerPoint</Application>
  <PresentationFormat>Širokoúhlá obrazovka</PresentationFormat>
  <Paragraphs>6</Paragraphs>
  <Slides>3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3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Podíl (%) volné aktuálně nahlášené kapacity JIP</vt:lpstr>
      <vt:lpstr>Podíl (%) volné aktuálně nahlášené kapacity UPV</vt:lpstr>
      <vt:lpstr>Podíl (%) volné aktuálně nahlášené kapacity standartních lůžek s kyslíke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Zouharová Anna Bc.</cp:lastModifiedBy>
  <cp:revision>11</cp:revision>
  <dcterms:created xsi:type="dcterms:W3CDTF">2021-10-29T17:14:18Z</dcterms:created>
  <dcterms:modified xsi:type="dcterms:W3CDTF">2021-11-14T18:11:13Z</dcterms:modified>
</cp:coreProperties>
</file>